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D$2:$D$263</c:f>
              <c:numCache>
                <c:formatCode>#,##0</c:formatCode>
                <c:ptCount val="262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8</c:v>
                </c:pt>
                <c:pt idx="217">
                  <c:v>729</c:v>
                </c:pt>
                <c:pt idx="218">
                  <c:v>703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1</c:v>
                </c:pt>
                <c:pt idx="243">
                  <c:v>267</c:v>
                </c:pt>
                <c:pt idx="244">
                  <c:v>265</c:v>
                </c:pt>
                <c:pt idx="245">
                  <c:v>253</c:v>
                </c:pt>
                <c:pt idx="246">
                  <c:v>235</c:v>
                </c:pt>
                <c:pt idx="247">
                  <c:v>220</c:v>
                </c:pt>
                <c:pt idx="248">
                  <c:v>203</c:v>
                </c:pt>
                <c:pt idx="249">
                  <c:v>186</c:v>
                </c:pt>
                <c:pt idx="250">
                  <c:v>184</c:v>
                </c:pt>
                <c:pt idx="251">
                  <c:v>186</c:v>
                </c:pt>
                <c:pt idx="252">
                  <c:v>164</c:v>
                </c:pt>
                <c:pt idx="253">
                  <c:v>153</c:v>
                </c:pt>
                <c:pt idx="254">
                  <c:v>152</c:v>
                </c:pt>
                <c:pt idx="255">
                  <c:v>138</c:v>
                </c:pt>
                <c:pt idx="256">
                  <c:v>123</c:v>
                </c:pt>
                <c:pt idx="257">
                  <c:v>123</c:v>
                </c:pt>
                <c:pt idx="258">
                  <c:v>115</c:v>
                </c:pt>
                <c:pt idx="259">
                  <c:v>107</c:v>
                </c:pt>
                <c:pt idx="260">
                  <c:v>103</c:v>
                </c:pt>
                <c:pt idx="261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6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7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B$2:$B$263</c:f>
              <c:numCache>
                <c:formatCode>#,##0</c:formatCode>
                <c:ptCount val="262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C$2:$C$263</c:f>
              <c:numCache>
                <c:formatCode>#,##0</c:formatCode>
                <c:ptCount val="26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D$2:$D$263</c:f>
              <c:numCache>
                <c:formatCode>#,##0</c:formatCode>
                <c:ptCount val="262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2</c:v>
                </c:pt>
                <c:pt idx="166">
                  <c:v>2590</c:v>
                </c:pt>
                <c:pt idx="167">
                  <c:v>2623</c:v>
                </c:pt>
                <c:pt idx="168">
                  <c:v>2653</c:v>
                </c:pt>
                <c:pt idx="169">
                  <c:v>2717</c:v>
                </c:pt>
                <c:pt idx="170">
                  <c:v>2757</c:v>
                </c:pt>
                <c:pt idx="171">
                  <c:v>2678</c:v>
                </c:pt>
                <c:pt idx="172">
                  <c:v>2687</c:v>
                </c:pt>
                <c:pt idx="173">
                  <c:v>2808</c:v>
                </c:pt>
                <c:pt idx="174">
                  <c:v>3001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9</c:v>
                </c:pt>
                <c:pt idx="237">
                  <c:v>1296</c:v>
                </c:pt>
                <c:pt idx="238">
                  <c:v>1272</c:v>
                </c:pt>
                <c:pt idx="239">
                  <c:v>1230</c:v>
                </c:pt>
                <c:pt idx="240">
                  <c:v>1174</c:v>
                </c:pt>
                <c:pt idx="241">
                  <c:v>1127</c:v>
                </c:pt>
                <c:pt idx="242">
                  <c:v>1135</c:v>
                </c:pt>
                <c:pt idx="243">
                  <c:v>1128</c:v>
                </c:pt>
                <c:pt idx="244">
                  <c:v>1122</c:v>
                </c:pt>
                <c:pt idx="245">
                  <c:v>1053</c:v>
                </c:pt>
                <c:pt idx="246">
                  <c:v>989</c:v>
                </c:pt>
                <c:pt idx="247">
                  <c:v>916</c:v>
                </c:pt>
                <c:pt idx="248">
                  <c:v>851</c:v>
                </c:pt>
                <c:pt idx="249">
                  <c:v>808</c:v>
                </c:pt>
                <c:pt idx="250">
                  <c:v>809</c:v>
                </c:pt>
                <c:pt idx="251">
                  <c:v>773</c:v>
                </c:pt>
                <c:pt idx="252">
                  <c:v>725</c:v>
                </c:pt>
                <c:pt idx="253">
                  <c:v>657</c:v>
                </c:pt>
                <c:pt idx="254">
                  <c:v>639</c:v>
                </c:pt>
                <c:pt idx="255">
                  <c:v>617</c:v>
                </c:pt>
                <c:pt idx="256">
                  <c:v>555</c:v>
                </c:pt>
                <c:pt idx="257">
                  <c:v>553</c:v>
                </c:pt>
                <c:pt idx="258">
                  <c:v>521</c:v>
                </c:pt>
                <c:pt idx="259">
                  <c:v>460</c:v>
                </c:pt>
                <c:pt idx="260">
                  <c:v>427</c:v>
                </c:pt>
                <c:pt idx="261">
                  <c:v>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4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7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07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B$2:$B$263</c:f>
              <c:numCache>
                <c:formatCode>#,##0</c:formatCode>
                <c:ptCount val="262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C$2:$C$263</c:f>
              <c:numCache>
                <c:formatCode>#,##0</c:formatCode>
                <c:ptCount val="26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D$2:$D$263</c:f>
              <c:numCache>
                <c:formatCode>#,##0</c:formatCode>
                <c:ptCount val="26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7</c:v>
                </c:pt>
                <c:pt idx="26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7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B$2:$B$263</c:f>
              <c:numCache>
                <c:formatCode>#,##0</c:formatCode>
                <c:ptCount val="262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C$2:$C$263</c:f>
              <c:numCache>
                <c:formatCode>#,##0</c:formatCode>
                <c:ptCount val="26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D$2:$D$263</c:f>
              <c:numCache>
                <c:formatCode>#,##0</c:formatCode>
                <c:ptCount val="262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4</c:v>
                </c:pt>
                <c:pt idx="217">
                  <c:v>1394</c:v>
                </c:pt>
                <c:pt idx="218">
                  <c:v>1360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2</c:v>
                </c:pt>
                <c:pt idx="234">
                  <c:v>786</c:v>
                </c:pt>
                <c:pt idx="235">
                  <c:v>750</c:v>
                </c:pt>
                <c:pt idx="236">
                  <c:v>758</c:v>
                </c:pt>
                <c:pt idx="237">
                  <c:v>736</c:v>
                </c:pt>
                <c:pt idx="238">
                  <c:v>711</c:v>
                </c:pt>
                <c:pt idx="239">
                  <c:v>684</c:v>
                </c:pt>
                <c:pt idx="240">
                  <c:v>635</c:v>
                </c:pt>
                <c:pt idx="241">
                  <c:v>577</c:v>
                </c:pt>
                <c:pt idx="242">
                  <c:v>554</c:v>
                </c:pt>
                <c:pt idx="243">
                  <c:v>561</c:v>
                </c:pt>
                <c:pt idx="244">
                  <c:v>568</c:v>
                </c:pt>
                <c:pt idx="245">
                  <c:v>549</c:v>
                </c:pt>
                <c:pt idx="246">
                  <c:v>506</c:v>
                </c:pt>
                <c:pt idx="247">
                  <c:v>467</c:v>
                </c:pt>
                <c:pt idx="248">
                  <c:v>444</c:v>
                </c:pt>
                <c:pt idx="249">
                  <c:v>415</c:v>
                </c:pt>
                <c:pt idx="250">
                  <c:v>421</c:v>
                </c:pt>
                <c:pt idx="251">
                  <c:v>426</c:v>
                </c:pt>
                <c:pt idx="252">
                  <c:v>403</c:v>
                </c:pt>
                <c:pt idx="253">
                  <c:v>379</c:v>
                </c:pt>
                <c:pt idx="254">
                  <c:v>369</c:v>
                </c:pt>
                <c:pt idx="255">
                  <c:v>341</c:v>
                </c:pt>
                <c:pt idx="256">
                  <c:v>309</c:v>
                </c:pt>
                <c:pt idx="257">
                  <c:v>304</c:v>
                </c:pt>
                <c:pt idx="258">
                  <c:v>296</c:v>
                </c:pt>
                <c:pt idx="259">
                  <c:v>270</c:v>
                </c:pt>
                <c:pt idx="260">
                  <c:v>247</c:v>
                </c:pt>
                <c:pt idx="261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9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7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1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B$2:$B$263</c:f>
              <c:numCache>
                <c:formatCode>#,##0</c:formatCode>
                <c:ptCount val="262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3</c:f>
              <c:numCache>
                <c:formatCode>m/d/yyyy</c:formatCode>
                <c:ptCount val="26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</c:numCache>
            </c:numRef>
          </c:cat>
          <c:val>
            <c:numRef>
              <c:f>Sheet1!$C$2:$C$263</c:f>
              <c:numCache>
                <c:formatCode>#,##0</c:formatCode>
                <c:ptCount val="26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1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6412133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61153367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73694703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9203916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57070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06895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14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8</cp:revision>
  <dcterms:created xsi:type="dcterms:W3CDTF">2020-08-08T14:25:07Z</dcterms:created>
  <dcterms:modified xsi:type="dcterms:W3CDTF">2021-05-21T03:41:45Z</dcterms:modified>
</cp:coreProperties>
</file>